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513" r:id="rId4"/>
  </p:sldMasterIdLst>
  <p:notesMasterIdLst>
    <p:notesMasterId r:id="rId6"/>
  </p:notesMasterIdLst>
  <p:handoutMasterIdLst>
    <p:handoutMasterId r:id="rId7"/>
  </p:handoutMasterIdLst>
  <p:sldIdLst>
    <p:sldId id="2143" r:id="rId5"/>
  </p:sldIdLst>
  <p:sldSz cx="13442950" cy="7561263"/>
  <p:notesSz cx="6858000" cy="9144000"/>
  <p:custDataLst>
    <p:tags r:id="rId8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8A8A8D"/>
    <a:srgbClr val="FB3449"/>
    <a:srgbClr val="000000"/>
    <a:srgbClr val="CAC8C8"/>
    <a:srgbClr val="8547AD"/>
    <a:srgbClr val="33006F"/>
    <a:srgbClr val="0099A8"/>
    <a:srgbClr val="EA576C"/>
    <a:srgbClr val="DF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838" autoAdjust="0"/>
    <p:restoredTop sz="94291" autoAdjust="0"/>
  </p:normalViewPr>
  <p:slideViewPr>
    <p:cSldViewPr snapToGrid="0">
      <p:cViewPr varScale="1">
        <p:scale>
          <a:sx n="104" d="100"/>
          <a:sy n="104" d="100"/>
        </p:scale>
        <p:origin x="360" y="96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5/16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5/1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899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270000" y="1395414"/>
            <a:ext cx="12912600" cy="568228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3" y="264633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5004" y="2683268"/>
            <a:ext cx="8402591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1999"/>
              </a:lnSpc>
              <a:buNone/>
              <a:defRPr sz="1799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5557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4" y="1395414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2" y="1395414"/>
            <a:ext cx="4072954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5351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5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088459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307095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8" y="1395415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4" y="608972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4" y="6267182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3" y="1395415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2" y="608972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2" y="6267182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0419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9" y="179641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1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1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1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1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4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4" y="4850981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1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44793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9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3" y="270001"/>
            <a:ext cx="12413343" cy="29715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4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4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50425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3" y="270001"/>
            <a:ext cx="12413343" cy="29715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8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7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7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6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8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7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6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71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90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9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2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71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9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9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2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12974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4"/>
            <a:ext cx="2928749" cy="43272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6" y="1538654"/>
            <a:ext cx="2928749" cy="43272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4"/>
            <a:ext cx="2928749" cy="43272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4"/>
            <a:ext cx="2928749" cy="43272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5" y="60193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5" y="623190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172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6" y="1265222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2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300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3000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8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64214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3" y="270001"/>
            <a:ext cx="12413343" cy="2971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4" y="1678920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6" y="1678920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4" y="1674539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1" y="1674539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31" y="1674539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4" y="4263518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1" y="4263518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31" y="4263518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4" y="1343805"/>
            <a:ext cx="4072954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4" y="1343805"/>
            <a:ext cx="4072954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72638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20"/>
            <a:ext cx="4145086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90"/>
            <a:ext cx="414982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92"/>
            <a:ext cx="414982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20"/>
            <a:ext cx="4103854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6" y="5416990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6" y="5676292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3" y="2668120"/>
            <a:ext cx="4130268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90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92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7" y="2060412"/>
            <a:ext cx="4033067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7" y="2320960"/>
            <a:ext cx="4033067" cy="239014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2"/>
            <a:ext cx="4033067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0"/>
            <a:ext cx="4033067" cy="239014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2"/>
            <a:ext cx="4033067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0"/>
            <a:ext cx="4033067" cy="239014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56174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2" y="1946277"/>
            <a:ext cx="4128568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8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9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7" y="1372455"/>
            <a:ext cx="4033067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7" y="1559553"/>
            <a:ext cx="4033067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2" y="1946278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29" y="5791664"/>
            <a:ext cx="305155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29" y="5969116"/>
            <a:ext cx="305155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6" y="1946277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3" y="4102377"/>
            <a:ext cx="1979396" cy="1593573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4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5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20" y="3572708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20" y="375016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5" y="4102375"/>
            <a:ext cx="3055939" cy="1593576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80" y="5791664"/>
            <a:ext cx="307821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80" y="5969116"/>
            <a:ext cx="307821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5" y="1946278"/>
            <a:ext cx="3055939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3" y="3577487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3" y="3754934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0546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2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14278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2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1284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718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8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4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8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9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27864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3" y="270001"/>
            <a:ext cx="12413343" cy="29715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3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3" y="1658710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3" y="1987013"/>
            <a:ext cx="6664200" cy="4210169"/>
          </a:xfrm>
        </p:spPr>
        <p:txBody>
          <a:bodyPr/>
          <a:lstStyle>
            <a:lvl1pPr>
              <a:lnSpc>
                <a:spcPts val="1999"/>
              </a:lnSpc>
              <a:defRPr sz="1799">
                <a:solidFill>
                  <a:schemeClr val="tx2"/>
                </a:solidFill>
              </a:defRPr>
            </a:lvl1pPr>
            <a:lvl2pPr>
              <a:lnSpc>
                <a:spcPts val="1599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770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199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2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21843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5" imgW="38100" imgH="38100" progId="">
                  <p:embed/>
                </p:oleObj>
              </mc:Choice>
              <mc:Fallback>
                <p:oleObj name="think-cell Slide" r:id="rId5" imgW="38100" imgH="38100" progId="">
                  <p:embed/>
                  <p:pic>
                    <p:nvPicPr>
                      <p:cNvPr id="5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89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/>
          <p:nvPr/>
        </p:nvCxnSpPr>
        <p:spPr bwMode="gray">
          <a:xfrm>
            <a:off x="1" y="6791325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20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7" imgW="38100" imgH="38100" progId="">
                  <p:embed/>
                </p:oleObj>
              </mc:Choice>
              <mc:Fallback>
                <p:oleObj name="think-cell Slide" r:id="rId7" imgW="38100" imgH="38100" progId="">
                  <p:embed/>
                  <p:pic>
                    <p:nvPicPr>
                      <p:cNvPr id="9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89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6002" y="5102476"/>
            <a:ext cx="12331696" cy="709383"/>
          </a:xfrm>
        </p:spPr>
        <p:txBody>
          <a:bodyPr wrap="square" anchor="t" anchorCtr="0"/>
          <a:lstStyle>
            <a:lvl1pPr algn="l">
              <a:lnSpc>
                <a:spcPts val="5999"/>
              </a:lnSpc>
              <a:defRPr sz="6599" baseline="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62652" y="5789964"/>
            <a:ext cx="12305337" cy="455177"/>
          </a:xfrm>
        </p:spPr>
        <p:txBody>
          <a:bodyPr/>
          <a:lstStyle>
            <a:lvl1pPr marL="0" indent="0" algn="l">
              <a:lnSpc>
                <a:spcPts val="1500"/>
              </a:lnSpc>
              <a:buNone/>
              <a:defRPr sz="1400" b="1" i="0">
                <a:solidFill>
                  <a:schemeClr val="bg1"/>
                </a:solidFill>
              </a:defRPr>
            </a:lvl1pPr>
            <a:lvl2pPr marL="480887" indent="0" algn="ctr">
              <a:buNone/>
              <a:defRPr sz="2099"/>
            </a:lvl2pPr>
            <a:lvl3pPr marL="961770" indent="0" algn="ctr">
              <a:buNone/>
              <a:defRPr sz="1899"/>
            </a:lvl3pPr>
            <a:lvl4pPr marL="1442659" indent="0" algn="ctr">
              <a:buNone/>
              <a:defRPr sz="1699"/>
            </a:lvl4pPr>
            <a:lvl5pPr marL="1923545" indent="0" algn="ctr">
              <a:buNone/>
              <a:defRPr sz="1699"/>
            </a:lvl5pPr>
            <a:lvl6pPr marL="2404431" indent="0" algn="ctr">
              <a:buNone/>
              <a:defRPr sz="1699"/>
            </a:lvl6pPr>
            <a:lvl7pPr marL="2885317" indent="0" algn="ctr">
              <a:buNone/>
              <a:defRPr sz="1699"/>
            </a:lvl7pPr>
            <a:lvl8pPr marL="3366203" indent="0" algn="ctr">
              <a:buNone/>
              <a:defRPr sz="1699"/>
            </a:lvl8pPr>
            <a:lvl9pPr marL="3847087" indent="0" algn="ctr">
              <a:buNone/>
              <a:defRPr sz="1699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1" y="9"/>
            <a:ext cx="13442950" cy="4560249"/>
          </a:xfrm>
          <a:solidFill>
            <a:schemeClr val="accent5"/>
          </a:solidFill>
          <a:ln>
            <a:noFill/>
          </a:ln>
        </p:spPr>
        <p:txBody>
          <a:bodyPr tIns="1440000" rtlCol="0">
            <a:noAutofit/>
          </a:bodyPr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832" y="6983350"/>
            <a:ext cx="1665481" cy="434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001677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90" y="1578329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2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610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2"/>
            <a:ext cx="13442950" cy="706986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7"/>
            <a:ext cx="4670103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2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6" y="5368925"/>
            <a:ext cx="4159249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3" y="264633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8080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2"/>
            <a:ext cx="13442950" cy="706986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1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2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6" y="4321276"/>
            <a:ext cx="4159249" cy="2566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3" y="264633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1072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5508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1" y="1395413"/>
            <a:ext cx="12695650" cy="5672137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34877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2" y="1395416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7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6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2697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2" y="1395417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2" cy="1919288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2" y="5326243"/>
            <a:ext cx="4072954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48927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3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899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2" y="1395413"/>
            <a:ext cx="12695650" cy="567213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6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2" y="4277034"/>
            <a:ext cx="4072954" cy="26104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30608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8"/>
            </p:custDataLst>
          </p:nvPr>
        </p:nvGraphicFramePr>
        <p:xfrm>
          <a:off x="2154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9" imgW="6350000" imgH="6350000" progId="">
                  <p:embed/>
                </p:oleObj>
              </mc:Choice>
              <mc:Fallback>
                <p:oleObj name="think-cell Slide" r:id="rId2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4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3" y="270001"/>
            <a:ext cx="12413343" cy="29715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2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642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4" r:id="rId1"/>
    <p:sldLayoutId id="2147484515" r:id="rId2"/>
    <p:sldLayoutId id="2147484516" r:id="rId3"/>
    <p:sldLayoutId id="2147484517" r:id="rId4"/>
    <p:sldLayoutId id="2147484518" r:id="rId5"/>
    <p:sldLayoutId id="2147484519" r:id="rId6"/>
    <p:sldLayoutId id="2147484520" r:id="rId7"/>
    <p:sldLayoutId id="2147484521" r:id="rId8"/>
    <p:sldLayoutId id="2147484522" r:id="rId9"/>
    <p:sldLayoutId id="2147484523" r:id="rId10"/>
    <p:sldLayoutId id="2147484524" r:id="rId11"/>
    <p:sldLayoutId id="2147484525" r:id="rId12"/>
    <p:sldLayoutId id="2147484526" r:id="rId13"/>
    <p:sldLayoutId id="2147484527" r:id="rId14"/>
    <p:sldLayoutId id="2147484528" r:id="rId15"/>
    <p:sldLayoutId id="2147484529" r:id="rId16"/>
    <p:sldLayoutId id="2147484530" r:id="rId17"/>
    <p:sldLayoutId id="2147484531" r:id="rId18"/>
    <p:sldLayoutId id="2147484532" r:id="rId19"/>
    <p:sldLayoutId id="2147484533" r:id="rId20"/>
    <p:sldLayoutId id="2147484534" r:id="rId21"/>
    <p:sldLayoutId id="2147484535" r:id="rId22"/>
    <p:sldLayoutId id="2147484536" r:id="rId23"/>
    <p:sldLayoutId id="2147484537" r:id="rId24"/>
    <p:sldLayoutId id="2147484538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770" rtl="0" eaLnBrk="1" latinLnBrk="0" hangingPunct="1">
        <a:spcBef>
          <a:spcPct val="0"/>
        </a:spcBef>
        <a:buNone/>
        <a:defRPr sz="2801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770" rtl="0" eaLnBrk="1" latinLnBrk="0" hangingPunct="1">
        <a:lnSpc>
          <a:spcPts val="1899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770" rtl="0" eaLnBrk="1" latinLnBrk="0" hangingPunct="1">
        <a:lnSpc>
          <a:spcPts val="1899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770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770" rtl="0" eaLnBrk="1" latinLnBrk="0" hangingPunct="1">
        <a:lnSpc>
          <a:spcPts val="1599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770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4873" indent="-240442" algn="l" defTabSz="961770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3125759" indent="-240442" algn="l" defTabSz="961770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606646" indent="-240442" algn="l" defTabSz="961770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4087532" indent="-240442" algn="l" defTabSz="961770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1pPr>
      <a:lvl2pPr marL="480887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2pPr>
      <a:lvl3pPr marL="961770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3pPr>
      <a:lvl4pPr marL="1442659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4pPr>
      <a:lvl5pPr marL="1923545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5pPr>
      <a:lvl6pPr marL="2404431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2885317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366203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3847087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.png"/><Relationship Id="rId18" Type="http://schemas.openxmlformats.org/officeDocument/2006/relationships/image" Target="../media/image16.png"/><Relationship Id="rId26" Type="http://schemas.microsoft.com/office/2007/relationships/hdphoto" Target="../media/hdphoto8.wdp"/><Relationship Id="rId39" Type="http://schemas.openxmlformats.org/officeDocument/2006/relationships/image" Target="../media/image30.png"/><Relationship Id="rId21" Type="http://schemas.openxmlformats.org/officeDocument/2006/relationships/image" Target="../media/image18.png"/><Relationship Id="rId34" Type="http://schemas.openxmlformats.org/officeDocument/2006/relationships/image" Target="../media/image26.png"/><Relationship Id="rId7" Type="http://schemas.openxmlformats.org/officeDocument/2006/relationships/image" Target="../media/image7.png"/><Relationship Id="rId2" Type="http://schemas.openxmlformats.org/officeDocument/2006/relationships/image" Target="../media/image4.png"/><Relationship Id="rId16" Type="http://schemas.openxmlformats.org/officeDocument/2006/relationships/image" Target="../media/image15.png"/><Relationship Id="rId20" Type="http://schemas.microsoft.com/office/2007/relationships/hdphoto" Target="../media/hdphoto5.wdp"/><Relationship Id="rId29" Type="http://schemas.openxmlformats.org/officeDocument/2006/relationships/image" Target="../media/image22.png"/><Relationship Id="rId41" Type="http://schemas.openxmlformats.org/officeDocument/2006/relationships/image" Target="../media/image32.png"/><Relationship Id="rId1" Type="http://schemas.openxmlformats.org/officeDocument/2006/relationships/slideLayout" Target="../slideLayouts/slideLayout25.xml"/><Relationship Id="rId6" Type="http://schemas.microsoft.com/office/2007/relationships/hdphoto" Target="../media/hdphoto2.wdp"/><Relationship Id="rId11" Type="http://schemas.openxmlformats.org/officeDocument/2006/relationships/image" Target="../media/image10.jpeg"/><Relationship Id="rId24" Type="http://schemas.microsoft.com/office/2007/relationships/hdphoto" Target="../media/hdphoto7.wdp"/><Relationship Id="rId32" Type="http://schemas.openxmlformats.org/officeDocument/2006/relationships/image" Target="../media/image24.png"/><Relationship Id="rId37" Type="http://schemas.openxmlformats.org/officeDocument/2006/relationships/image" Target="../media/image28.png"/><Relationship Id="rId40" Type="http://schemas.openxmlformats.org/officeDocument/2006/relationships/image" Target="../media/image31.png"/><Relationship Id="rId5" Type="http://schemas.openxmlformats.org/officeDocument/2006/relationships/image" Target="../media/image6.png"/><Relationship Id="rId15" Type="http://schemas.openxmlformats.org/officeDocument/2006/relationships/image" Target="../media/image14.png"/><Relationship Id="rId23" Type="http://schemas.openxmlformats.org/officeDocument/2006/relationships/image" Target="../media/image19.png"/><Relationship Id="rId28" Type="http://schemas.microsoft.com/office/2007/relationships/hdphoto" Target="../media/hdphoto9.wdp"/><Relationship Id="rId36" Type="http://schemas.openxmlformats.org/officeDocument/2006/relationships/image" Target="../media/image27.png"/><Relationship Id="rId10" Type="http://schemas.microsoft.com/office/2007/relationships/hdphoto" Target="../media/hdphoto3.wdp"/><Relationship Id="rId19" Type="http://schemas.openxmlformats.org/officeDocument/2006/relationships/image" Target="../media/image17.png"/><Relationship Id="rId31" Type="http://schemas.openxmlformats.org/officeDocument/2006/relationships/image" Target="../media/image23.png"/><Relationship Id="rId4" Type="http://schemas.openxmlformats.org/officeDocument/2006/relationships/image" Target="../media/image5.jpeg"/><Relationship Id="rId9" Type="http://schemas.openxmlformats.org/officeDocument/2006/relationships/image" Target="../media/image9.png"/><Relationship Id="rId14" Type="http://schemas.openxmlformats.org/officeDocument/2006/relationships/image" Target="../media/image13.png"/><Relationship Id="rId22" Type="http://schemas.microsoft.com/office/2007/relationships/hdphoto" Target="../media/hdphoto6.wdp"/><Relationship Id="rId27" Type="http://schemas.openxmlformats.org/officeDocument/2006/relationships/image" Target="../media/image21.png"/><Relationship Id="rId30" Type="http://schemas.microsoft.com/office/2007/relationships/hdphoto" Target="../media/hdphoto10.wdp"/><Relationship Id="rId35" Type="http://schemas.microsoft.com/office/2007/relationships/hdphoto" Target="../media/hdphoto11.wdp"/><Relationship Id="rId8" Type="http://schemas.openxmlformats.org/officeDocument/2006/relationships/image" Target="../media/image8.png"/><Relationship Id="rId3" Type="http://schemas.microsoft.com/office/2007/relationships/hdphoto" Target="../media/hdphoto1.wdp"/><Relationship Id="rId12" Type="http://schemas.openxmlformats.org/officeDocument/2006/relationships/image" Target="../media/image11.jpeg"/><Relationship Id="rId17" Type="http://schemas.microsoft.com/office/2007/relationships/hdphoto" Target="../media/hdphoto4.wdp"/><Relationship Id="rId25" Type="http://schemas.openxmlformats.org/officeDocument/2006/relationships/image" Target="../media/image20.png"/><Relationship Id="rId33" Type="http://schemas.openxmlformats.org/officeDocument/2006/relationships/image" Target="../media/image25.png"/><Relationship Id="rId38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07DB67A0-B7E4-87DB-FB6F-F221F4CFC487}"/>
              </a:ext>
            </a:extLst>
          </p:cNvPr>
          <p:cNvCxnSpPr>
            <a:cxnSpLocks/>
          </p:cNvCxnSpPr>
          <p:nvPr/>
        </p:nvCxnSpPr>
        <p:spPr>
          <a:xfrm flipV="1">
            <a:off x="6854652" y="3801942"/>
            <a:ext cx="0" cy="1088055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1673B7F-3DD9-79C2-08C4-DC4BD7D80FA2}"/>
              </a:ext>
            </a:extLst>
          </p:cNvPr>
          <p:cNvCxnSpPr>
            <a:cxnSpLocks/>
          </p:cNvCxnSpPr>
          <p:nvPr/>
        </p:nvCxnSpPr>
        <p:spPr>
          <a:xfrm flipV="1">
            <a:off x="2115275" y="2894837"/>
            <a:ext cx="0" cy="83041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75FDA23-9FFD-44C8-B5FC-05743743EDDE}"/>
              </a:ext>
            </a:extLst>
          </p:cNvPr>
          <p:cNvCxnSpPr>
            <a:cxnSpLocks/>
          </p:cNvCxnSpPr>
          <p:nvPr/>
        </p:nvCxnSpPr>
        <p:spPr>
          <a:xfrm flipV="1">
            <a:off x="802879" y="3627447"/>
            <a:ext cx="11292" cy="105228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892D0B4B-EEED-448E-9C34-BC5B4065D231}"/>
              </a:ext>
            </a:extLst>
          </p:cNvPr>
          <p:cNvCxnSpPr>
            <a:cxnSpLocks/>
          </p:cNvCxnSpPr>
          <p:nvPr/>
        </p:nvCxnSpPr>
        <p:spPr>
          <a:xfrm flipV="1">
            <a:off x="4172176" y="2473974"/>
            <a:ext cx="0" cy="1234947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7FDC92BE-EE4A-E54C-BFF3-8CF766BB78B9}"/>
              </a:ext>
            </a:extLst>
          </p:cNvPr>
          <p:cNvSpPr txBox="1">
            <a:spLocks/>
          </p:cNvSpPr>
          <p:nvPr/>
        </p:nvSpPr>
        <p:spPr bwMode="gray">
          <a:xfrm>
            <a:off x="259028" y="183348"/>
            <a:ext cx="10435188" cy="43101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0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0" i="0" u="none" strike="noStrike" kern="1200" cap="all" spc="100" normalizeH="0" baseline="0" noProof="0" dirty="0">
                <a:ln w="22225">
                  <a:noFill/>
                  <a:prstDash val="solid"/>
                </a:ln>
                <a:solidFill>
                  <a:srgbClr val="FFFFFF"/>
                </a:solidFill>
                <a:effectLst/>
                <a:uLnTx/>
                <a:uFillTx/>
                <a:latin typeface="Impact"/>
                <a:ea typeface="+mj-ea"/>
                <a:cs typeface="+mj-cs"/>
              </a:rPr>
              <a:t>FILM SLATE 2024</a:t>
            </a:r>
          </a:p>
        </p:txBody>
      </p:sp>
      <p:sp>
        <p:nvSpPr>
          <p:cNvPr id="22" name="AutoShape 10" descr="Image result for gambit logo">
            <a:extLst>
              <a:ext uri="{FF2B5EF4-FFF2-40B4-BE49-F238E27FC236}">
                <a16:creationId xmlns:a16="http://schemas.microsoft.com/office/drawing/2014/main" id="{2438FAE9-DF04-D94C-9801-CBBF9BDDE91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69085" y="3452645"/>
            <a:ext cx="304783" cy="304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618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99" b="0" i="0" u="none" strike="noStrike" kern="1200" cap="none" spc="0" normalizeH="0" baseline="0" noProof="0" dirty="0">
              <a:ln>
                <a:noFill/>
              </a:ln>
              <a:solidFill>
                <a:srgbClr val="00BFD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D7DCF25-EB44-7B4B-A4F6-002C7D9BCB0B}"/>
              </a:ext>
            </a:extLst>
          </p:cNvPr>
          <p:cNvCxnSpPr>
            <a:cxnSpLocks/>
          </p:cNvCxnSpPr>
          <p:nvPr/>
        </p:nvCxnSpPr>
        <p:spPr>
          <a:xfrm flipV="1">
            <a:off x="1265382" y="3740994"/>
            <a:ext cx="13837" cy="1616097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6A507F2E-B631-1E42-A593-F60DD50043D9}"/>
              </a:ext>
            </a:extLst>
          </p:cNvPr>
          <p:cNvCxnSpPr>
            <a:cxnSpLocks/>
          </p:cNvCxnSpPr>
          <p:nvPr/>
        </p:nvCxnSpPr>
        <p:spPr>
          <a:xfrm flipV="1">
            <a:off x="4178134" y="4476786"/>
            <a:ext cx="740" cy="598356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AutoShape 8" descr="Respect (2021 film) - Wikipedia">
            <a:extLst>
              <a:ext uri="{FF2B5EF4-FFF2-40B4-BE49-F238E27FC236}">
                <a16:creationId xmlns:a16="http://schemas.microsoft.com/office/drawing/2014/main" id="{ABCE86EF-A500-487D-B55B-5F8E6976DB1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69085" y="3627447"/>
            <a:ext cx="304783" cy="304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618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99" b="0" i="0" u="none" strike="noStrike" kern="1200" cap="none" spc="0" normalizeH="0" baseline="0" noProof="0" dirty="0">
              <a:ln>
                <a:noFill/>
              </a:ln>
              <a:solidFill>
                <a:srgbClr val="00BFD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8347F036-0FD6-4E62-88F2-5984F2C18E1F}"/>
              </a:ext>
            </a:extLst>
          </p:cNvPr>
          <p:cNvCxnSpPr>
            <a:cxnSpLocks/>
          </p:cNvCxnSpPr>
          <p:nvPr/>
        </p:nvCxnSpPr>
        <p:spPr>
          <a:xfrm flipH="1" flipV="1">
            <a:off x="3014742" y="1799477"/>
            <a:ext cx="6156" cy="190944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12ABDCB-4F78-41A6-84AE-915E56A657A5}"/>
              </a:ext>
            </a:extLst>
          </p:cNvPr>
          <p:cNvGrpSpPr/>
          <p:nvPr/>
        </p:nvGrpSpPr>
        <p:grpSpPr>
          <a:xfrm>
            <a:off x="0" y="3596399"/>
            <a:ext cx="13442951" cy="288000"/>
            <a:chOff x="0" y="3590945"/>
            <a:chExt cx="13442951" cy="288000"/>
          </a:xfrm>
        </p:grpSpPr>
        <p:sp>
          <p:nvSpPr>
            <p:cNvPr id="55" name="Rectangle: Rounded Corners 3">
              <a:extLst>
                <a:ext uri="{FF2B5EF4-FFF2-40B4-BE49-F238E27FC236}">
                  <a16:creationId xmlns:a16="http://schemas.microsoft.com/office/drawing/2014/main" id="{81113650-8D03-47D7-B289-DF003545C79F}"/>
                </a:ext>
              </a:extLst>
            </p:cNvPr>
            <p:cNvSpPr/>
            <p:nvPr/>
          </p:nvSpPr>
          <p:spPr>
            <a:xfrm>
              <a:off x="0" y="3590945"/>
              <a:ext cx="13442951" cy="28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84" b="0" i="0" u="none" strike="noStrike" kern="1200" cap="none" spc="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mpact"/>
                <a:ea typeface="+mn-ea"/>
                <a:cs typeface="+mn-cs"/>
              </a:endParaRPr>
            </a:p>
          </p:txBody>
        </p:sp>
        <p:sp>
          <p:nvSpPr>
            <p:cNvPr id="57" name="Title 1">
              <a:extLst>
                <a:ext uri="{FF2B5EF4-FFF2-40B4-BE49-F238E27FC236}">
                  <a16:creationId xmlns:a16="http://schemas.microsoft.com/office/drawing/2014/main" id="{CA55D575-4975-4C7E-B787-7FBA3A4DF94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29733" y="3658942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all" spc="0" normalizeH="0" baseline="0" noProof="0" dirty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JAN</a:t>
              </a:r>
            </a:p>
          </p:txBody>
        </p:sp>
        <p:sp>
          <p:nvSpPr>
            <p:cNvPr id="63" name="Title 1">
              <a:extLst>
                <a:ext uri="{FF2B5EF4-FFF2-40B4-BE49-F238E27FC236}">
                  <a16:creationId xmlns:a16="http://schemas.microsoft.com/office/drawing/2014/main" id="{216F97A8-D6A9-426E-9740-91E00B0381D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13291" y="3658365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Feb</a:t>
              </a:r>
              <a:endPara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9" name="Title 1">
              <a:extLst>
                <a:ext uri="{FF2B5EF4-FFF2-40B4-BE49-F238E27FC236}">
                  <a16:creationId xmlns:a16="http://schemas.microsoft.com/office/drawing/2014/main" id="{1AB92A3A-9BF6-4458-9428-B45840A86A7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078331" y="3658942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" name="Title 1">
              <a:extLst>
                <a:ext uri="{FF2B5EF4-FFF2-40B4-BE49-F238E27FC236}">
                  <a16:creationId xmlns:a16="http://schemas.microsoft.com/office/drawing/2014/main" id="{FD777305-2577-4279-A395-62076DA5AE7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87152" y="3667290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dirty="0">
                  <a:latin typeface="Arial" charset="0"/>
                  <a:ea typeface="Arial" charset="0"/>
                  <a:cs typeface="Arial" charset="0"/>
                </a:rPr>
                <a:t>Mar</a:t>
              </a:r>
              <a:endPara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" name="Title 1">
              <a:extLst>
                <a:ext uri="{FF2B5EF4-FFF2-40B4-BE49-F238E27FC236}">
                  <a16:creationId xmlns:a16="http://schemas.microsoft.com/office/drawing/2014/main" id="{DBC1C7C6-CE7E-488D-BBE5-55134C385E5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349359" y="3658942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3" name="Title 1">
              <a:extLst>
                <a:ext uri="{FF2B5EF4-FFF2-40B4-BE49-F238E27FC236}">
                  <a16:creationId xmlns:a16="http://schemas.microsoft.com/office/drawing/2014/main" id="{00BC2E8E-4561-4847-956D-917BB8AFDBE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484873" y="3658942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</p:grp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DFAE185E-9170-4837-870D-666400CE4073}"/>
              </a:ext>
            </a:extLst>
          </p:cNvPr>
          <p:cNvCxnSpPr>
            <a:cxnSpLocks/>
          </p:cNvCxnSpPr>
          <p:nvPr/>
        </p:nvCxnSpPr>
        <p:spPr>
          <a:xfrm flipV="1">
            <a:off x="1864601" y="3700338"/>
            <a:ext cx="6116" cy="1254226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7B09EF72-1925-4D5C-A844-096519EA64A4}"/>
              </a:ext>
            </a:extLst>
          </p:cNvPr>
          <p:cNvCxnSpPr>
            <a:cxnSpLocks/>
          </p:cNvCxnSpPr>
          <p:nvPr/>
        </p:nvCxnSpPr>
        <p:spPr>
          <a:xfrm flipV="1">
            <a:off x="2463245" y="3840555"/>
            <a:ext cx="0" cy="47800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53BD069E-3744-4794-A380-22DD03B0C43A}"/>
              </a:ext>
            </a:extLst>
          </p:cNvPr>
          <p:cNvCxnSpPr>
            <a:cxnSpLocks/>
          </p:cNvCxnSpPr>
          <p:nvPr/>
        </p:nvCxnSpPr>
        <p:spPr>
          <a:xfrm flipV="1">
            <a:off x="3276152" y="2991496"/>
            <a:ext cx="0" cy="843382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385E4949-8698-49CC-AED9-9CE412B26DD2}"/>
              </a:ext>
            </a:extLst>
          </p:cNvPr>
          <p:cNvCxnSpPr>
            <a:cxnSpLocks/>
          </p:cNvCxnSpPr>
          <p:nvPr/>
        </p:nvCxnSpPr>
        <p:spPr>
          <a:xfrm flipV="1">
            <a:off x="1273258" y="2548188"/>
            <a:ext cx="23294" cy="114533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DEAB4EA6-3FA4-4B75-8A27-16F381EE0C74}"/>
              </a:ext>
            </a:extLst>
          </p:cNvPr>
          <p:cNvCxnSpPr>
            <a:cxnSpLocks/>
          </p:cNvCxnSpPr>
          <p:nvPr/>
        </p:nvCxnSpPr>
        <p:spPr>
          <a:xfrm>
            <a:off x="802879" y="3186545"/>
            <a:ext cx="0" cy="41044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El Muerto' - Murphy's Multiverse">
            <a:extLst>
              <a:ext uri="{FF2B5EF4-FFF2-40B4-BE49-F238E27FC236}">
                <a16:creationId xmlns:a16="http://schemas.microsoft.com/office/drawing/2014/main" id="{BFCFC2D4-5629-467B-B5D5-7002652157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5825" b="62960" l="10000" r="90000">
                        <a14:foregroundMark x1="68791" y1="50394" x2="68791" y2="50394"/>
                        <a14:foregroundMark x1="60220" y1="54724" x2="60220" y2="54724"/>
                        <a14:foregroundMark x1="51648" y1="53150" x2="51648" y2="53150"/>
                        <a14:foregroundMark x1="47473" y1="58661" x2="47473" y2="58661"/>
                        <a14:foregroundMark x1="36484" y1="51181" x2="36484" y2="51181"/>
                        <a14:foregroundMark x1="25495" y1="54724" x2="25495" y2="54724"/>
                        <a14:foregroundMark x1="20879" y1="57480" x2="20879" y2="5748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2433" b="33648"/>
          <a:stretch/>
        </p:blipFill>
        <p:spPr bwMode="auto">
          <a:xfrm>
            <a:off x="10659" y="2908666"/>
            <a:ext cx="1402632" cy="26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he Color Purple (2023) - IMDb">
            <a:extLst>
              <a:ext uri="{FF2B5EF4-FFF2-40B4-BE49-F238E27FC236}">
                <a16:creationId xmlns:a16="http://schemas.microsoft.com/office/drawing/2014/main" id="{89BFB311-7B50-4036-A281-D4A880A5F3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97" b="38116"/>
          <a:stretch/>
        </p:blipFill>
        <p:spPr bwMode="auto">
          <a:xfrm>
            <a:off x="746043" y="5471215"/>
            <a:ext cx="1033686" cy="636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Migration (2023) Fan Casting on myCast">
            <a:extLst>
              <a:ext uri="{FF2B5EF4-FFF2-40B4-BE49-F238E27FC236}">
                <a16:creationId xmlns:a16="http://schemas.microsoft.com/office/drawing/2014/main" id="{8E692AC3-129E-44D9-895B-4AFCD2D3C9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42150" b="48792" l="14626" r="84354">
                        <a14:foregroundMark x1="43027" y1="47826" x2="43027" y2="47826"/>
                        <a14:foregroundMark x1="43537" y1="47826" x2="42687" y2="46981"/>
                        <a14:foregroundMark x1="59014" y1="43478" x2="59354" y2="43478"/>
                        <a14:foregroundMark x1="64796" y1="46739" x2="64796" y2="46739"/>
                        <a14:foregroundMark x1="74660" y1="47101" x2="74660" y2="47101"/>
                        <a14:foregroundMark x1="84354" y1="45169" x2="84354" y2="45169"/>
                        <a14:foregroundMark x1="25510" y1="46014" x2="25510" y2="4601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203" t="41412" r="8817" b="50282"/>
          <a:stretch/>
        </p:blipFill>
        <p:spPr bwMode="auto">
          <a:xfrm>
            <a:off x="1282986" y="5022097"/>
            <a:ext cx="1818910" cy="250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The Tiger's Apprentice (2024) - IMDb">
            <a:extLst>
              <a:ext uri="{FF2B5EF4-FFF2-40B4-BE49-F238E27FC236}">
                <a16:creationId xmlns:a16="http://schemas.microsoft.com/office/drawing/2014/main" id="{90A2C439-0799-4F98-8004-8233294807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47" t="21497" r="547" b="29980"/>
          <a:stretch/>
        </p:blipFill>
        <p:spPr bwMode="auto">
          <a:xfrm>
            <a:off x="779262" y="1825586"/>
            <a:ext cx="986076" cy="700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A Quiet Place Part II (@quietplacemovie) / Twitter">
            <a:extLst>
              <a:ext uri="{FF2B5EF4-FFF2-40B4-BE49-F238E27FC236}">
                <a16:creationId xmlns:a16="http://schemas.microsoft.com/office/drawing/2014/main" id="{354D0DE6-E290-40B8-A72B-5A3074B073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192" r="5492" b="31420"/>
          <a:stretch/>
        </p:blipFill>
        <p:spPr bwMode="auto">
          <a:xfrm>
            <a:off x="3067870" y="2618478"/>
            <a:ext cx="946667" cy="354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Kung Fu Panda 4 Announced - First look, Story &amp; Cast (2024) - YouTube">
            <a:extLst>
              <a:ext uri="{FF2B5EF4-FFF2-40B4-BE49-F238E27FC236}">
                <a16:creationId xmlns:a16="http://schemas.microsoft.com/office/drawing/2014/main" id="{F3649FD7-1E3B-4953-A4FB-14C6020D08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34180" b="76212" l="2861" r="43433">
                        <a14:foregroundMark x1="7022" y1="54503" x2="2861" y2="60508"/>
                        <a14:foregroundMark x1="27762" y1="39785" x2="28479" y2="41339"/>
                        <a14:foregroundMark x1="30039" y1="42494" x2="28479" y2="36028"/>
                        <a14:foregroundMark x1="29649" y1="44111" x2="32120" y2="42494"/>
                        <a14:foregroundMark x1="25228" y1="41339" x2="33550" y2="41339"/>
                        <a14:foregroundMark x1="29389" y1="40878" x2="11313" y2="41801"/>
                        <a14:foregroundMark x1="11313" y1="41801" x2="11834" y2="41801"/>
                        <a14:foregroundMark x1="20489" y1="37644" x2="13654" y2="37644"/>
                        <a14:backgroundMark x1="28653" y1="36206" x2="31469" y2="34411"/>
                        <a14:backgroundMark x1="27139" y1="37172" x2="28531" y2="36284"/>
                        <a14:backgroundMark x1="27048" y1="36490" x2="19636" y2="3510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55" t="28994" r="51829" b="18448"/>
          <a:stretch/>
        </p:blipFill>
        <p:spPr bwMode="auto">
          <a:xfrm>
            <a:off x="2508996" y="5537930"/>
            <a:ext cx="1494032" cy="945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Snow White (2024) - IMDb">
            <a:extLst>
              <a:ext uri="{FF2B5EF4-FFF2-40B4-BE49-F238E27FC236}">
                <a16:creationId xmlns:a16="http://schemas.microsoft.com/office/drawing/2014/main" id="{8F55926D-40BF-4125-AFDD-69E507DE2D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09" b="44139"/>
          <a:stretch/>
        </p:blipFill>
        <p:spPr bwMode="auto">
          <a:xfrm>
            <a:off x="3621345" y="5101278"/>
            <a:ext cx="1352632" cy="532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Spider-Man: Beyond the Spider-Verse (2024) - IMDb">
            <a:extLst>
              <a:ext uri="{FF2B5EF4-FFF2-40B4-BE49-F238E27FC236}">
                <a16:creationId xmlns:a16="http://schemas.microsoft.com/office/drawing/2014/main" id="{6332B606-F496-442E-BDE7-8BDD7AA47D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105" b="42645"/>
          <a:stretch/>
        </p:blipFill>
        <p:spPr bwMode="auto">
          <a:xfrm>
            <a:off x="3335080" y="640499"/>
            <a:ext cx="1755661" cy="628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MADAME WEB Logo PNG Movie 2024 dakota johnson by Andrewvm on DeviantArt">
            <a:extLst>
              <a:ext uri="{FF2B5EF4-FFF2-40B4-BE49-F238E27FC236}">
                <a16:creationId xmlns:a16="http://schemas.microsoft.com/office/drawing/2014/main" id="{44727EF8-EBE2-431B-9567-B2560477DC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2314" y="4184923"/>
            <a:ext cx="1410255" cy="792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PIXAR eLio Logo PNG by DocBuffFlash82 on DeviantArt">
            <a:extLst>
              <a:ext uri="{FF2B5EF4-FFF2-40B4-BE49-F238E27FC236}">
                <a16:creationId xmlns:a16="http://schemas.microsoft.com/office/drawing/2014/main" id="{E80A69CC-49DE-4C58-B7BC-3F875EF3B4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6359" y="947816"/>
            <a:ext cx="1378803" cy="919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6147C9F-CFB5-1744-51E9-068D645D6365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14764" t="37887" r="10928" b="43300"/>
          <a:stretch/>
        </p:blipFill>
        <p:spPr>
          <a:xfrm>
            <a:off x="140129" y="4534310"/>
            <a:ext cx="1105532" cy="49761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BF604D0-D7E7-9648-F771-1BAC35BDE48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10000" b="90000" l="10000" r="93000">
                        <a14:foregroundMark x1="49333" y1="35000" x2="32667" y2="44000"/>
                        <a14:foregroundMark x1="91667" y1="27333" x2="93000" y2="25333"/>
                        <a14:foregroundMark x1="65333" y1="60000" x2="65333" y2="60000"/>
                        <a14:foregroundMark x1="81000" y1="20333" x2="81000" y2="20333"/>
                        <a14:foregroundMark x1="38667" y1="26000" x2="41000" y2="2666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678254" y="2019731"/>
            <a:ext cx="986076" cy="98607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80B3D9-0FF2-D8AA-7486-608834A7E300}"/>
              </a:ext>
            </a:extLst>
          </p:cNvPr>
          <p:cNvCxnSpPr>
            <a:cxnSpLocks/>
          </p:cNvCxnSpPr>
          <p:nvPr/>
        </p:nvCxnSpPr>
        <p:spPr>
          <a:xfrm flipV="1">
            <a:off x="3860758" y="3693527"/>
            <a:ext cx="0" cy="843382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1765F1AD-E810-3075-5533-473F4558E02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448386" y="4217915"/>
            <a:ext cx="1357575" cy="44707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1A1F492-D722-45DF-7551-228419D92D4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9211" b="89474" l="4291" r="92469">
                        <a14:foregroundMark x1="9457" y1="52193" x2="9457" y2="52193"/>
                        <a14:foregroundMark x1="13047" y1="46930" x2="12522" y2="18421"/>
                        <a14:foregroundMark x1="5342" y1="54825" x2="4291" y2="18421"/>
                        <a14:foregroundMark x1="20753" y1="31579" x2="16637" y2="75439"/>
                        <a14:foregroundMark x1="29597" y1="85526" x2="29597" y2="85526"/>
                        <a14:foregroundMark x1="29597" y1="85526" x2="29597" y2="85526"/>
                        <a14:foregroundMark x1="28546" y1="80702" x2="21804" y2="46930"/>
                        <a14:foregroundMark x1="30035" y1="13158" x2="31611" y2="44298"/>
                        <a14:foregroundMark x1="38879" y1="64912" x2="39842" y2="23684"/>
                        <a14:foregroundMark x1="54291" y1="54825" x2="55342" y2="52193"/>
                        <a14:foregroundMark x1="56392" y1="78070" x2="56392" y2="80702"/>
                        <a14:foregroundMark x1="55867" y1="13158" x2="55867" y2="26316"/>
                        <a14:foregroundMark x1="65674" y1="57456" x2="64623" y2="52193"/>
                        <a14:foregroundMark x1="67688" y1="31579" x2="67688" y2="31579"/>
                        <a14:foregroundMark x1="92469" y1="36404" x2="92469" y2="36404"/>
                        <a14:foregroundMark x1="86252" y1="26316" x2="86252" y2="26316"/>
                        <a14:foregroundMark x1="90455" y1="75439" x2="90455" y2="75439"/>
                        <a14:foregroundMark x1="82137" y1="52193" x2="82137" y2="521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44128" y="2143950"/>
            <a:ext cx="1846613" cy="368676"/>
          </a:xfrm>
          <a:prstGeom prst="rect">
            <a:avLst/>
          </a:prstGeom>
        </p:spPr>
      </p:pic>
      <p:sp>
        <p:nvSpPr>
          <p:cNvPr id="61" name="Title 1">
            <a:extLst>
              <a:ext uri="{FF2B5EF4-FFF2-40B4-BE49-F238E27FC236}">
                <a16:creationId xmlns:a16="http://schemas.microsoft.com/office/drawing/2014/main" id="{0BDD5A2E-FC45-35FF-7C69-B8021B8546F3}"/>
              </a:ext>
            </a:extLst>
          </p:cNvPr>
          <p:cNvSpPr txBox="1">
            <a:spLocks/>
          </p:cNvSpPr>
          <p:nvPr/>
        </p:nvSpPr>
        <p:spPr bwMode="gray">
          <a:xfrm>
            <a:off x="5316993" y="3675833"/>
            <a:ext cx="332398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AY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B99C3FB7-9DD3-A058-652D-59DCDB748821}"/>
              </a:ext>
            </a:extLst>
          </p:cNvPr>
          <p:cNvSpPr txBox="1">
            <a:spLocks/>
          </p:cNvSpPr>
          <p:nvPr/>
        </p:nvSpPr>
        <p:spPr bwMode="gray">
          <a:xfrm>
            <a:off x="6450530" y="3663819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JUN</a:t>
            </a:r>
          </a:p>
        </p:txBody>
      </p:sp>
      <p:pic>
        <p:nvPicPr>
          <p:cNvPr id="64" name="Picture 4" descr="Furiosa (2024) - IMDb">
            <a:extLst>
              <a:ext uri="{FF2B5EF4-FFF2-40B4-BE49-F238E27FC236}">
                <a16:creationId xmlns:a16="http://schemas.microsoft.com/office/drawing/2014/main" id="{3749D932-68D5-247B-C5ED-8CF7D978C7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8724" b="22070" l="3809" r="94531">
                        <a14:foregroundMark x1="6641" y1="15039" x2="6641" y2="15039"/>
                        <a14:foregroundMark x1="4688" y1="15234" x2="7715" y2="13216"/>
                        <a14:foregroundMark x1="22949" y1="18359" x2="20215" y2="8919"/>
                        <a14:foregroundMark x1="20215" y1="8919" x2="20996" y2="8789"/>
                        <a14:foregroundMark x1="16895" y1="9180" x2="3906" y2="10482"/>
                        <a14:foregroundMark x1="32910" y1="9505" x2="32617" y2="11198"/>
                        <a14:foregroundMark x1="33984" y1="18750" x2="39844" y2="11198"/>
                        <a14:foregroundMark x1="70996" y1="18555" x2="78223" y2="10482"/>
                        <a14:foregroundMark x1="84277" y1="18945" x2="94043" y2="11133"/>
                        <a14:foregroundMark x1="94043" y1="11133" x2="94531" y2="22070"/>
                        <a14:backgroundMark x1="28792" y1="11492" x2="28792" y2="11492"/>
                        <a14:backgroundMark x1="25450" y1="11492" x2="25450" y2="1149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8126" b="78733"/>
          <a:stretch/>
        </p:blipFill>
        <p:spPr bwMode="auto">
          <a:xfrm>
            <a:off x="5353457" y="5434102"/>
            <a:ext cx="1053357" cy="207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" descr="Captain America: New World Order - Wikipedia">
            <a:extLst>
              <a:ext uri="{FF2B5EF4-FFF2-40B4-BE49-F238E27FC236}">
                <a16:creationId xmlns:a16="http://schemas.microsoft.com/office/drawing/2014/main" id="{A9E24428-5A19-13C4-6160-B87E5B3BA6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9697" b="89697" l="6557" r="93770">
                        <a14:foregroundMark x1="37705" y1="47879" x2="37705" y2="47879"/>
                        <a14:foregroundMark x1="31148" y1="49091" x2="31148" y2="49091"/>
                        <a14:foregroundMark x1="6885" y1="50909" x2="6885" y2="50909"/>
                        <a14:foregroundMark x1="45246" y1="49091" x2="45246" y2="49091"/>
                        <a14:foregroundMark x1="54754" y1="49091" x2="54754" y2="49091"/>
                        <a14:foregroundMark x1="67541" y1="46061" x2="67541" y2="46061"/>
                        <a14:foregroundMark x1="75410" y1="46061" x2="75410" y2="46061"/>
                        <a14:foregroundMark x1="80000" y1="47273" x2="80000" y2="47273"/>
                        <a14:foregroundMark x1="84590" y1="50909" x2="84590" y2="50909"/>
                        <a14:foregroundMark x1="93770" y1="46667" x2="93443" y2="48485"/>
                        <a14:foregroundMark x1="12459" y1="60000" x2="12459" y2="60000"/>
                        <a14:foregroundMark x1="12787" y1="58182" x2="12787" y2="58182"/>
                        <a14:foregroundMark x1="13115" y1="56364" x2="13115" y2="56364"/>
                        <a14:foregroundMark x1="23279" y1="58788" x2="23279" y2="58788"/>
                        <a14:foregroundMark x1="20656" y1="58182" x2="20656" y2="58182"/>
                        <a14:foregroundMark x1="28525" y1="60606" x2="28525" y2="60606"/>
                        <a14:foregroundMark x1="37049" y1="59394" x2="37049" y2="59394"/>
                        <a14:foregroundMark x1="44590" y1="58788" x2="44590" y2="58788"/>
                        <a14:foregroundMark x1="41967" y1="60000" x2="41967" y2="60000"/>
                        <a14:foregroundMark x1="48525" y1="60606" x2="48525" y2="60606"/>
                        <a14:foregroundMark x1="51475" y1="61212" x2="51475" y2="61212"/>
                        <a14:foregroundMark x1="53115" y1="61818" x2="53115" y2="61818"/>
                        <a14:foregroundMark x1="57377" y1="60606" x2="57377" y2="60606"/>
                        <a14:foregroundMark x1="54754" y1="60000" x2="54754" y2="60000"/>
                        <a14:foregroundMark x1="85246" y1="40000" x2="85246" y2="40000"/>
                        <a14:foregroundMark x1="86557" y1="39394" x2="86557" y2="39394"/>
                        <a14:foregroundMark x1="64918" y1="60000" x2="64918" y2="60000"/>
                        <a14:foregroundMark x1="61311" y1="60000" x2="61311" y2="60000"/>
                        <a14:foregroundMark x1="69508" y1="58788" x2="69508" y2="58788"/>
                        <a14:foregroundMark x1="67541" y1="58788" x2="67541" y2="58788"/>
                        <a14:foregroundMark x1="74426" y1="59394" x2="74426" y2="59394"/>
                        <a14:foregroundMark x1="78033" y1="59394" x2="78033" y2="59394"/>
                        <a14:foregroundMark x1="83279" y1="57576" x2="83279" y2="57576"/>
                        <a14:foregroundMark x1="88525" y1="60000" x2="88525" y2="60000"/>
                        <a14:foregroundMark x1="88197" y1="57576" x2="88197" y2="5757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432" y="841145"/>
            <a:ext cx="1890130" cy="1022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66" descr="A picture containing logo, graphics, screenshot, graphic design&#10;&#10;Description automatically generated">
            <a:extLst>
              <a:ext uri="{FF2B5EF4-FFF2-40B4-BE49-F238E27FC236}">
                <a16:creationId xmlns:a16="http://schemas.microsoft.com/office/drawing/2014/main" id="{14D0011D-9B51-7C0B-7F87-B9490B024BBC}"/>
              </a:ext>
            </a:extLst>
          </p:cNvPr>
          <p:cNvPicPr>
            <a:picLocks noChangeAspect="1"/>
          </p:cNvPicPr>
          <p:nvPr/>
        </p:nvPicPr>
        <p:blipFill rotWithShape="1">
          <a:blip r:embed="rId25" cstate="print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ackgroundRemoval t="34381" b="66286" l="11286" r="86429">
                        <a14:foregroundMark x1="79000" y1="37333" x2="80143" y2="37524"/>
                        <a14:foregroundMark x1="81857" y1="36381" x2="82000" y2="34476"/>
                        <a14:foregroundMark x1="86286" y1="36952" x2="86571" y2="37048"/>
                        <a14:foregroundMark x1="49857" y1="36381" x2="51000" y2="43810"/>
                        <a14:foregroundMark x1="51000" y1="43810" x2="51000" y2="43810"/>
                        <a14:foregroundMark x1="16429" y1="65333" x2="44143" y2="59048"/>
                        <a14:foregroundMark x1="11286" y1="66286" x2="11286" y2="66286"/>
                        <a14:foregroundMark x1="45000" y1="63524" x2="64571" y2="5752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363" t="32750" r="10668" b="32795"/>
          <a:stretch/>
        </p:blipFill>
        <p:spPr>
          <a:xfrm>
            <a:off x="5504143" y="6065535"/>
            <a:ext cx="659283" cy="415683"/>
          </a:xfrm>
          <a:prstGeom prst="rect">
            <a:avLst/>
          </a:prstGeom>
        </p:spPr>
      </p:pic>
      <p:pic>
        <p:nvPicPr>
          <p:cNvPr id="65" name="Picture 6" descr="Kingdom of the Planet of the Apes | Planet of the Apes Wiki | Fandom">
            <a:extLst>
              <a:ext uri="{FF2B5EF4-FFF2-40B4-BE49-F238E27FC236}">
                <a16:creationId xmlns:a16="http://schemas.microsoft.com/office/drawing/2014/main" id="{6CE47A2B-C7EC-A16D-F470-D3DB03F108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ackgroundRemoval t="29174" b="70658" l="9781" r="90051">
                        <a14:foregroundMark x1="20573" y1="47892" x2="20573" y2="47892"/>
                        <a14:foregroundMark x1="20742" y1="55818" x2="20742" y2="55818"/>
                        <a14:foregroundMark x1="18044" y1="56155" x2="18044" y2="56155"/>
                        <a14:foregroundMark x1="24958" y1="55987" x2="24958" y2="55987"/>
                        <a14:foregroundMark x1="28499" y1="55649" x2="28499" y2="55649"/>
                        <a14:foregroundMark x1="31535" y1="56155" x2="31535" y2="56155"/>
                        <a14:foregroundMark x1="51433" y1="70826" x2="51433" y2="70826"/>
                        <a14:foregroundMark x1="45531" y1="49073" x2="45531" y2="49073"/>
                        <a14:foregroundMark x1="68803" y1="44857" x2="68803" y2="44857"/>
                        <a14:foregroundMark x1="82631" y1="35582" x2="82631" y2="35582"/>
                        <a14:foregroundMark x1="84992" y1="35076" x2="84992" y2="35076"/>
                        <a14:foregroundMark x1="90051" y1="34907" x2="90051" y2="34907"/>
                        <a14:foregroundMark x1="77909" y1="35245" x2="77909" y2="35245"/>
                        <a14:foregroundMark x1="75717" y1="35582" x2="75717" y2="35582"/>
                        <a14:foregroundMark x1="64418" y1="33390" x2="64418" y2="33390"/>
                        <a14:foregroundMark x1="45194" y1="34739" x2="45194" y2="34739"/>
                        <a14:foregroundMark x1="37268" y1="34064" x2="37268" y2="34064"/>
                        <a14:foregroundMark x1="24789" y1="31535" x2="24789" y2="31535"/>
                        <a14:foregroundMark x1="20742" y1="33558" x2="20742" y2="33558"/>
                        <a14:foregroundMark x1="13828" y1="33052" x2="13828" y2="3305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4321" b="25422"/>
          <a:stretch/>
        </p:blipFill>
        <p:spPr bwMode="auto">
          <a:xfrm>
            <a:off x="5718355" y="2277174"/>
            <a:ext cx="1284779" cy="645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12" descr="Garfield - Garfield Logo Vector, HD Png Download , Transparent Png Image -  PNGitem | Vector logo, ? logo, Garfield">
            <a:extLst>
              <a:ext uri="{FF2B5EF4-FFF2-40B4-BE49-F238E27FC236}">
                <a16:creationId xmlns:a16="http://schemas.microsoft.com/office/drawing/2014/main" id="{4E5EC340-F3C7-4F59-05EA-B6A3AB4251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backgroundRemoval t="9091" b="88843" l="5465" r="93721">
                        <a14:foregroundMark x1="90349" y1="32645" x2="93953" y2="56612"/>
                        <a14:foregroundMark x1="93953" y1="56612" x2="89535" y2="73140"/>
                        <a14:foregroundMark x1="10930" y1="72314" x2="8256" y2="39669"/>
                        <a14:foregroundMark x1="8256" y1="39669" x2="11860" y2="33884"/>
                        <a14:foregroundMark x1="5698" y1="47521" x2="5465" y2="6859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0235" y="4383811"/>
            <a:ext cx="1439733" cy="405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1505950-6CF6-2EDB-1E72-3987BC07BC07}"/>
              </a:ext>
            </a:extLst>
          </p:cNvPr>
          <p:cNvCxnSpPr>
            <a:cxnSpLocks/>
          </p:cNvCxnSpPr>
          <p:nvPr/>
        </p:nvCxnSpPr>
        <p:spPr>
          <a:xfrm flipV="1">
            <a:off x="5680281" y="1614053"/>
            <a:ext cx="0" cy="2111198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itle 1">
            <a:extLst>
              <a:ext uri="{FF2B5EF4-FFF2-40B4-BE49-F238E27FC236}">
                <a16:creationId xmlns:a16="http://schemas.microsoft.com/office/drawing/2014/main" id="{337C61C3-23D4-A1E9-B41F-3A07D094D34B}"/>
              </a:ext>
            </a:extLst>
          </p:cNvPr>
          <p:cNvSpPr txBox="1">
            <a:spLocks/>
          </p:cNvSpPr>
          <p:nvPr/>
        </p:nvSpPr>
        <p:spPr bwMode="gray">
          <a:xfrm>
            <a:off x="4333366" y="3654588"/>
            <a:ext cx="332398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PR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CD675186-E35E-F729-4739-A4D088DEE078}"/>
              </a:ext>
            </a:extLst>
          </p:cNvPr>
          <p:cNvCxnSpPr>
            <a:cxnSpLocks/>
          </p:cNvCxnSpPr>
          <p:nvPr/>
        </p:nvCxnSpPr>
        <p:spPr>
          <a:xfrm flipV="1">
            <a:off x="4167434" y="1302673"/>
            <a:ext cx="0" cy="80504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1C1DFEF9-0386-4FB3-B006-E6D86CB58040}"/>
              </a:ext>
            </a:extLst>
          </p:cNvPr>
          <p:cNvCxnSpPr>
            <a:cxnSpLocks/>
          </p:cNvCxnSpPr>
          <p:nvPr/>
        </p:nvCxnSpPr>
        <p:spPr>
          <a:xfrm flipV="1">
            <a:off x="5960497" y="3843729"/>
            <a:ext cx="0" cy="61972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FE14266B-2FB1-ADF8-54AA-E5100994DA01}"/>
              </a:ext>
            </a:extLst>
          </p:cNvPr>
          <p:cNvCxnSpPr>
            <a:cxnSpLocks/>
          </p:cNvCxnSpPr>
          <p:nvPr/>
        </p:nvCxnSpPr>
        <p:spPr>
          <a:xfrm flipV="1">
            <a:off x="6179521" y="2922866"/>
            <a:ext cx="0" cy="712713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itle 1">
            <a:extLst>
              <a:ext uri="{FF2B5EF4-FFF2-40B4-BE49-F238E27FC236}">
                <a16:creationId xmlns:a16="http://schemas.microsoft.com/office/drawing/2014/main" id="{E95A1948-3807-E82E-5CA4-EB81D9725914}"/>
              </a:ext>
            </a:extLst>
          </p:cNvPr>
          <p:cNvSpPr txBox="1">
            <a:spLocks/>
          </p:cNvSpPr>
          <p:nvPr/>
        </p:nvSpPr>
        <p:spPr bwMode="gray">
          <a:xfrm>
            <a:off x="7860367" y="3669032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JUL</a:t>
            </a:r>
          </a:p>
        </p:txBody>
      </p:sp>
      <p:sp>
        <p:nvSpPr>
          <p:cNvPr id="84" name="Title 1">
            <a:extLst>
              <a:ext uri="{FF2B5EF4-FFF2-40B4-BE49-F238E27FC236}">
                <a16:creationId xmlns:a16="http://schemas.microsoft.com/office/drawing/2014/main" id="{508225DC-72F5-880C-F8D6-636C91ACA82E}"/>
              </a:ext>
            </a:extLst>
          </p:cNvPr>
          <p:cNvSpPr txBox="1">
            <a:spLocks/>
          </p:cNvSpPr>
          <p:nvPr/>
        </p:nvSpPr>
        <p:spPr bwMode="gray">
          <a:xfrm>
            <a:off x="8765590" y="3663819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UG</a:t>
            </a:r>
          </a:p>
        </p:txBody>
      </p:sp>
      <p:sp>
        <p:nvSpPr>
          <p:cNvPr id="85" name="Title 1">
            <a:extLst>
              <a:ext uri="{FF2B5EF4-FFF2-40B4-BE49-F238E27FC236}">
                <a16:creationId xmlns:a16="http://schemas.microsoft.com/office/drawing/2014/main" id="{33120328-BA13-A284-35F3-72BFE4235074}"/>
              </a:ext>
            </a:extLst>
          </p:cNvPr>
          <p:cNvSpPr txBox="1">
            <a:spLocks/>
          </p:cNvSpPr>
          <p:nvPr/>
        </p:nvSpPr>
        <p:spPr bwMode="gray">
          <a:xfrm>
            <a:off x="9859194" y="3654588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SEPT</a:t>
            </a:r>
          </a:p>
        </p:txBody>
      </p:sp>
      <p:sp>
        <p:nvSpPr>
          <p:cNvPr id="86" name="Title 1">
            <a:extLst>
              <a:ext uri="{FF2B5EF4-FFF2-40B4-BE49-F238E27FC236}">
                <a16:creationId xmlns:a16="http://schemas.microsoft.com/office/drawing/2014/main" id="{7869372B-B14D-4D99-5B22-5CEF4BB551C9}"/>
              </a:ext>
            </a:extLst>
          </p:cNvPr>
          <p:cNvSpPr txBox="1">
            <a:spLocks/>
          </p:cNvSpPr>
          <p:nvPr/>
        </p:nvSpPr>
        <p:spPr bwMode="gray">
          <a:xfrm>
            <a:off x="10591667" y="3654588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OCT</a:t>
            </a:r>
          </a:p>
        </p:txBody>
      </p:sp>
      <p:sp>
        <p:nvSpPr>
          <p:cNvPr id="87" name="Title 1">
            <a:extLst>
              <a:ext uri="{FF2B5EF4-FFF2-40B4-BE49-F238E27FC236}">
                <a16:creationId xmlns:a16="http://schemas.microsoft.com/office/drawing/2014/main" id="{76E5660B-4667-4589-A7ED-371A8F5036C5}"/>
              </a:ext>
            </a:extLst>
          </p:cNvPr>
          <p:cNvSpPr txBox="1">
            <a:spLocks/>
          </p:cNvSpPr>
          <p:nvPr/>
        </p:nvSpPr>
        <p:spPr bwMode="gray">
          <a:xfrm>
            <a:off x="11484873" y="3654588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NOV</a:t>
            </a:r>
          </a:p>
        </p:txBody>
      </p:sp>
      <p:sp>
        <p:nvSpPr>
          <p:cNvPr id="88" name="Title 1">
            <a:extLst>
              <a:ext uri="{FF2B5EF4-FFF2-40B4-BE49-F238E27FC236}">
                <a16:creationId xmlns:a16="http://schemas.microsoft.com/office/drawing/2014/main" id="{CC74D5E2-B0EA-6661-7B0E-44B447FEF59E}"/>
              </a:ext>
            </a:extLst>
          </p:cNvPr>
          <p:cNvSpPr txBox="1">
            <a:spLocks/>
          </p:cNvSpPr>
          <p:nvPr/>
        </p:nvSpPr>
        <p:spPr bwMode="gray">
          <a:xfrm>
            <a:off x="12444071" y="3654588"/>
            <a:ext cx="387185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DEC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9261C58-5DD3-2777-C9D8-B45E7455DE27}"/>
              </a:ext>
            </a:extLst>
          </p:cNvPr>
          <p:cNvSpPr txBox="1"/>
          <p:nvPr/>
        </p:nvSpPr>
        <p:spPr>
          <a:xfrm>
            <a:off x="6293873" y="4944676"/>
            <a:ext cx="1256211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rgbClr val="FFFFFF"/>
                </a:solidFill>
                <a:latin typeface="+mj-lt"/>
              </a:rPr>
              <a:t>Karate Kid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6F1ADC04-6B0A-D4F7-3D30-194431CBCE6B}"/>
              </a:ext>
            </a:extLst>
          </p:cNvPr>
          <p:cNvCxnSpPr>
            <a:cxnSpLocks/>
          </p:cNvCxnSpPr>
          <p:nvPr/>
        </p:nvCxnSpPr>
        <p:spPr>
          <a:xfrm flipH="1" flipV="1">
            <a:off x="7562504" y="3720552"/>
            <a:ext cx="2281" cy="60689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>
            <a:extLst>
              <a:ext uri="{FF2B5EF4-FFF2-40B4-BE49-F238E27FC236}">
                <a16:creationId xmlns:a16="http://schemas.microsoft.com/office/drawing/2014/main" id="{C437365B-C987-9130-E119-5615F09BD91E}"/>
              </a:ext>
            </a:extLst>
          </p:cNvPr>
          <p:cNvPicPr>
            <a:picLocks noChangeAspect="1"/>
          </p:cNvPicPr>
          <p:nvPr/>
        </p:nvPicPr>
        <p:blipFill rotWithShape="1">
          <a:blip r:embed="rId31"/>
          <a:srcRect t="21011" b="42202"/>
          <a:stretch/>
        </p:blipFill>
        <p:spPr>
          <a:xfrm>
            <a:off x="6871318" y="2580420"/>
            <a:ext cx="1118538" cy="60959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5331813F-1F95-F2CF-4612-F78A10EFCBDC}"/>
              </a:ext>
            </a:extLst>
          </p:cNvPr>
          <p:cNvPicPr>
            <a:picLocks noChangeAspect="1"/>
          </p:cNvPicPr>
          <p:nvPr/>
        </p:nvPicPr>
        <p:blipFill rotWithShape="1">
          <a:blip r:embed="rId32"/>
          <a:srcRect t="36811" b="48124"/>
          <a:stretch/>
        </p:blipFill>
        <p:spPr>
          <a:xfrm>
            <a:off x="6546350" y="4351515"/>
            <a:ext cx="1660348" cy="365590"/>
          </a:xfrm>
          <a:prstGeom prst="rect">
            <a:avLst/>
          </a:prstGeom>
        </p:spPr>
      </p:pic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BD5CB633-F2BB-1F05-70A2-11D50AA34C4B}"/>
              </a:ext>
            </a:extLst>
          </p:cNvPr>
          <p:cNvCxnSpPr>
            <a:cxnSpLocks/>
          </p:cNvCxnSpPr>
          <p:nvPr/>
        </p:nvCxnSpPr>
        <p:spPr>
          <a:xfrm flipH="1" flipV="1">
            <a:off x="7389091" y="3306618"/>
            <a:ext cx="7516" cy="466666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Picture 55">
            <a:extLst>
              <a:ext uri="{FF2B5EF4-FFF2-40B4-BE49-F238E27FC236}">
                <a16:creationId xmlns:a16="http://schemas.microsoft.com/office/drawing/2014/main" id="{683941F2-5AA3-374F-EEE8-A307005B533D}"/>
              </a:ext>
            </a:extLst>
          </p:cNvPr>
          <p:cNvPicPr>
            <a:picLocks noChangeAspect="1"/>
          </p:cNvPicPr>
          <p:nvPr/>
        </p:nvPicPr>
        <p:blipFill rotWithShape="1">
          <a:blip r:embed="rId33"/>
          <a:srcRect l="21232" t="34596" r="21866" b="28866"/>
          <a:stretch/>
        </p:blipFill>
        <p:spPr>
          <a:xfrm>
            <a:off x="7691598" y="797253"/>
            <a:ext cx="1340192" cy="580897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B3C79461-5764-B9B3-320E-1369F9C43541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BEBA8EAE-BF5A-486C-A8C5-ECC9F3942E4B}">
                <a14:imgProps xmlns:a14="http://schemas.microsoft.com/office/drawing/2010/main">
                  <a14:imgLayer r:embed="rId35">
                    <a14:imgEffect>
                      <a14:backgroundRemoval t="10000" b="90000" l="10000" r="90000">
                        <a14:foregroundMark x1="48438" y1="45694" x2="48438" y2="45694"/>
                        <a14:foregroundMark x1="66250" y1="55278" x2="66250" y2="55278"/>
                        <a14:foregroundMark x1="28672" y1="31806" x2="28672" y2="31806"/>
                        <a14:foregroundMark x1="30938" y1="31806" x2="30938" y2="31806"/>
                        <a14:foregroundMark x1="37266" y1="31806" x2="37266" y2="31806"/>
                        <a14:foregroundMark x1="41875" y1="31389" x2="41875" y2="31389"/>
                        <a14:foregroundMark x1="47891" y1="25694" x2="47891" y2="25694"/>
                        <a14:foregroundMark x1="51016" y1="23750" x2="51016" y2="23750"/>
                        <a14:foregroundMark x1="57656" y1="23194" x2="57656" y2="23194"/>
                        <a14:foregroundMark x1="61953" y1="23194" x2="61953" y2="23194"/>
                        <a14:foregroundMark x1="66797" y1="22639" x2="66797" y2="22639"/>
                        <a14:foregroundMark x1="71953" y1="26806" x2="71953" y2="26806"/>
                        <a14:backgroundMark x1="57031" y1="24583" x2="57031" y2="24583"/>
                        <a14:backgroundMark x1="63203" y1="20694" x2="63203" y2="20694"/>
                        <a14:backgroundMark x1="63125" y1="29583" x2="63125" y2="2958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70512" y="5428846"/>
            <a:ext cx="1782364" cy="1002580"/>
          </a:xfrm>
          <a:prstGeom prst="rect">
            <a:avLst/>
          </a:prstGeom>
        </p:spPr>
      </p:pic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7C22B86F-AF5F-1DAC-F321-5B29141DC33A}"/>
              </a:ext>
            </a:extLst>
          </p:cNvPr>
          <p:cNvCxnSpPr>
            <a:cxnSpLocks/>
          </p:cNvCxnSpPr>
          <p:nvPr/>
        </p:nvCxnSpPr>
        <p:spPr>
          <a:xfrm flipH="1" flipV="1">
            <a:off x="8398033" y="3627447"/>
            <a:ext cx="9753" cy="188108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2EC2B525-6D58-B719-5808-649314BAF08F}"/>
              </a:ext>
            </a:extLst>
          </p:cNvPr>
          <p:cNvSpPr txBox="1"/>
          <p:nvPr/>
        </p:nvSpPr>
        <p:spPr>
          <a:xfrm>
            <a:off x="7794512" y="2182723"/>
            <a:ext cx="1134364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solidFill>
                  <a:srgbClr val="FFFFFF"/>
                </a:solidFill>
                <a:latin typeface="Arial Narrow" panose="020B0606020202030204" pitchFamily="34" charset="0"/>
              </a:rPr>
              <a:t>Untitled Transformers Animation </a:t>
            </a: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24ABB596-4C8F-360A-B917-3950F0B4608C}"/>
              </a:ext>
            </a:extLst>
          </p:cNvPr>
          <p:cNvCxnSpPr>
            <a:cxnSpLocks/>
          </p:cNvCxnSpPr>
          <p:nvPr/>
        </p:nvCxnSpPr>
        <p:spPr>
          <a:xfrm flipV="1">
            <a:off x="8361694" y="1378150"/>
            <a:ext cx="0" cy="83041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F2B1F3B1-8040-FCEE-023A-346D9BECFC7D}"/>
              </a:ext>
            </a:extLst>
          </p:cNvPr>
          <p:cNvCxnSpPr>
            <a:cxnSpLocks/>
          </p:cNvCxnSpPr>
          <p:nvPr/>
        </p:nvCxnSpPr>
        <p:spPr>
          <a:xfrm flipV="1">
            <a:off x="8362344" y="2829054"/>
            <a:ext cx="0" cy="83041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CF1675D2-1BF6-C9E6-E5EF-39BFB4252ACB}"/>
              </a:ext>
            </a:extLst>
          </p:cNvPr>
          <p:cNvCxnSpPr>
            <a:cxnSpLocks/>
            <a:stCxn id="1036" idx="0"/>
          </p:cNvCxnSpPr>
          <p:nvPr/>
        </p:nvCxnSpPr>
        <p:spPr>
          <a:xfrm flipV="1">
            <a:off x="3256012" y="3677181"/>
            <a:ext cx="20140" cy="186074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>
            <a:extLst>
              <a:ext uri="{FF2B5EF4-FFF2-40B4-BE49-F238E27FC236}">
                <a16:creationId xmlns:a16="http://schemas.microsoft.com/office/drawing/2014/main" id="{1C5DFEE3-5C9F-4D94-F726-7CB56EC5E4F9}"/>
              </a:ext>
            </a:extLst>
          </p:cNvPr>
          <p:cNvSpPr txBox="1"/>
          <p:nvPr/>
        </p:nvSpPr>
        <p:spPr>
          <a:xfrm>
            <a:off x="9096020" y="1777494"/>
            <a:ext cx="1134364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rgbClr val="FFFFFF"/>
                </a:solidFill>
                <a:latin typeface="Bell MT" panose="02020503060305020303" pitchFamily="18" charset="0"/>
              </a:rPr>
              <a:t>SPEAK</a:t>
            </a:r>
          </a:p>
          <a:p>
            <a:pPr algn="ctr"/>
            <a:r>
              <a:rPr lang="en-GB" sz="1400" dirty="0">
                <a:solidFill>
                  <a:srgbClr val="FFFFFF"/>
                </a:solidFill>
                <a:latin typeface="Bell MT" panose="02020503060305020303" pitchFamily="18" charset="0"/>
              </a:rPr>
              <a:t>NO</a:t>
            </a:r>
          </a:p>
          <a:p>
            <a:pPr algn="ctr"/>
            <a:r>
              <a:rPr lang="en-GB" sz="1400" dirty="0">
                <a:solidFill>
                  <a:srgbClr val="FFFFFF"/>
                </a:solidFill>
                <a:latin typeface="Bell MT" panose="02020503060305020303" pitchFamily="18" charset="0"/>
              </a:rPr>
              <a:t>EVIL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8583ED22-0DE1-D413-241D-EECB3C68B5C1}"/>
              </a:ext>
            </a:extLst>
          </p:cNvPr>
          <p:cNvCxnSpPr>
            <a:cxnSpLocks/>
          </p:cNvCxnSpPr>
          <p:nvPr/>
        </p:nvCxnSpPr>
        <p:spPr>
          <a:xfrm flipH="1" flipV="1">
            <a:off x="9657898" y="2509449"/>
            <a:ext cx="7040" cy="111193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4E2438E6-69D3-851B-D8B3-F74CE246BD76}"/>
              </a:ext>
            </a:extLst>
          </p:cNvPr>
          <p:cNvCxnSpPr>
            <a:cxnSpLocks/>
          </p:cNvCxnSpPr>
          <p:nvPr/>
        </p:nvCxnSpPr>
        <p:spPr>
          <a:xfrm>
            <a:off x="9344604" y="3874336"/>
            <a:ext cx="0" cy="41044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>
            <a:extLst>
              <a:ext uri="{FF2B5EF4-FFF2-40B4-BE49-F238E27FC236}">
                <a16:creationId xmlns:a16="http://schemas.microsoft.com/office/drawing/2014/main" id="{D09B6F40-B223-BB56-51E5-3F6276FDC089}"/>
              </a:ext>
            </a:extLst>
          </p:cNvPr>
          <p:cNvSpPr txBox="1"/>
          <p:nvPr/>
        </p:nvSpPr>
        <p:spPr>
          <a:xfrm>
            <a:off x="8747105" y="4254581"/>
            <a:ext cx="11343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rgbClr val="FFFFFF"/>
                </a:solidFill>
                <a:latin typeface="Arial Black" panose="020B0A04020102020204" pitchFamily="34" charset="0"/>
              </a:rPr>
              <a:t>Trap </a:t>
            </a:r>
          </a:p>
        </p:txBody>
      </p:sp>
      <p:pic>
        <p:nvPicPr>
          <p:cNvPr id="107" name="Picture 106">
            <a:extLst>
              <a:ext uri="{FF2B5EF4-FFF2-40B4-BE49-F238E27FC236}">
                <a16:creationId xmlns:a16="http://schemas.microsoft.com/office/drawing/2014/main" id="{AF927B78-CA40-FCF9-9B11-E204882CD6C5}"/>
              </a:ext>
            </a:extLst>
          </p:cNvPr>
          <p:cNvPicPr>
            <a:picLocks noChangeAspect="1"/>
          </p:cNvPicPr>
          <p:nvPr/>
        </p:nvPicPr>
        <p:blipFill rotWithShape="1">
          <a:blip r:embed="rId36"/>
          <a:srcRect t="33609" b="38779"/>
          <a:stretch/>
        </p:blipFill>
        <p:spPr>
          <a:xfrm>
            <a:off x="9288564" y="5133247"/>
            <a:ext cx="1925783" cy="531752"/>
          </a:xfrm>
          <a:prstGeom prst="rect">
            <a:avLst/>
          </a:prstGeom>
        </p:spPr>
      </p:pic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7AB8F473-1CA1-AD3A-6BB7-010B7B7D962D}"/>
              </a:ext>
            </a:extLst>
          </p:cNvPr>
          <p:cNvCxnSpPr>
            <a:cxnSpLocks/>
          </p:cNvCxnSpPr>
          <p:nvPr/>
        </p:nvCxnSpPr>
        <p:spPr>
          <a:xfrm flipH="1" flipV="1">
            <a:off x="10302451" y="3817707"/>
            <a:ext cx="7040" cy="111193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8" name="Picture 107">
            <a:extLst>
              <a:ext uri="{FF2B5EF4-FFF2-40B4-BE49-F238E27FC236}">
                <a16:creationId xmlns:a16="http://schemas.microsoft.com/office/drawing/2014/main" id="{30960061-C4C5-78C2-0B78-D36983DA6CA4}"/>
              </a:ext>
            </a:extLst>
          </p:cNvPr>
          <p:cNvPicPr>
            <a:picLocks noChangeAspect="1"/>
          </p:cNvPicPr>
          <p:nvPr/>
        </p:nvPicPr>
        <p:blipFill rotWithShape="1">
          <a:blip r:embed="rId37"/>
          <a:srcRect l="11316" t="35887" r="9863" b="22251"/>
          <a:stretch/>
        </p:blipFill>
        <p:spPr>
          <a:xfrm>
            <a:off x="10444828" y="1795563"/>
            <a:ext cx="1206244" cy="947463"/>
          </a:xfrm>
          <a:prstGeom prst="rect">
            <a:avLst/>
          </a:prstGeom>
        </p:spPr>
      </p:pic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510299A-763F-7007-C165-D46BFDEC1F44}"/>
              </a:ext>
            </a:extLst>
          </p:cNvPr>
          <p:cNvCxnSpPr>
            <a:cxnSpLocks/>
          </p:cNvCxnSpPr>
          <p:nvPr/>
        </p:nvCxnSpPr>
        <p:spPr>
          <a:xfrm flipV="1">
            <a:off x="11059802" y="2829054"/>
            <a:ext cx="0" cy="79652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1" name="Picture 110">
            <a:extLst>
              <a:ext uri="{FF2B5EF4-FFF2-40B4-BE49-F238E27FC236}">
                <a16:creationId xmlns:a16="http://schemas.microsoft.com/office/drawing/2014/main" id="{6884F1EA-D59F-A74D-9404-9EA0A61FE0A5}"/>
              </a:ext>
            </a:extLst>
          </p:cNvPr>
          <p:cNvPicPr>
            <a:picLocks noChangeAspect="1"/>
          </p:cNvPicPr>
          <p:nvPr/>
        </p:nvPicPr>
        <p:blipFill rotWithShape="1">
          <a:blip r:embed="rId38"/>
          <a:srcRect l="27242" t="8566" r="26573" b="7163"/>
          <a:stretch/>
        </p:blipFill>
        <p:spPr>
          <a:xfrm>
            <a:off x="11259348" y="4181308"/>
            <a:ext cx="1160739" cy="1452845"/>
          </a:xfrm>
          <a:prstGeom prst="rect">
            <a:avLst/>
          </a:prstGeom>
        </p:spPr>
      </p:pic>
      <p:sp>
        <p:nvSpPr>
          <p:cNvPr id="134" name="TextBox 133">
            <a:extLst>
              <a:ext uri="{FF2B5EF4-FFF2-40B4-BE49-F238E27FC236}">
                <a16:creationId xmlns:a16="http://schemas.microsoft.com/office/drawing/2014/main" id="{34B75055-3832-2981-1061-24EA51415A4B}"/>
              </a:ext>
            </a:extLst>
          </p:cNvPr>
          <p:cNvSpPr txBox="1"/>
          <p:nvPr/>
        </p:nvSpPr>
        <p:spPr>
          <a:xfrm>
            <a:off x="11250035" y="5615254"/>
            <a:ext cx="113436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solidFill>
                  <a:srgbClr val="FFFFFF"/>
                </a:solidFill>
                <a:latin typeface="Arial Narrow" panose="020B0606020202030204" pitchFamily="34" charset="0"/>
              </a:rPr>
              <a:t>Deadpool 3</a:t>
            </a:r>
          </a:p>
        </p:txBody>
      </p:sp>
      <p:pic>
        <p:nvPicPr>
          <p:cNvPr id="112" name="Picture 111">
            <a:extLst>
              <a:ext uri="{FF2B5EF4-FFF2-40B4-BE49-F238E27FC236}">
                <a16:creationId xmlns:a16="http://schemas.microsoft.com/office/drawing/2014/main" id="{184BC928-29BB-46BB-79D5-65FE993C9A68}"/>
              </a:ext>
            </a:extLst>
          </p:cNvPr>
          <p:cNvPicPr>
            <a:picLocks noChangeAspect="1"/>
          </p:cNvPicPr>
          <p:nvPr/>
        </p:nvPicPr>
        <p:blipFill rotWithShape="1">
          <a:blip r:embed="rId39"/>
          <a:srcRect t="18595" b="34494"/>
          <a:stretch/>
        </p:blipFill>
        <p:spPr>
          <a:xfrm>
            <a:off x="11003339" y="876263"/>
            <a:ext cx="1817940" cy="852821"/>
          </a:xfrm>
          <a:prstGeom prst="rect">
            <a:avLst/>
          </a:prstGeom>
        </p:spPr>
      </p:pic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0E04F46F-08B6-5C33-9797-02E557C1D67F}"/>
              </a:ext>
            </a:extLst>
          </p:cNvPr>
          <p:cNvCxnSpPr>
            <a:cxnSpLocks/>
          </p:cNvCxnSpPr>
          <p:nvPr/>
        </p:nvCxnSpPr>
        <p:spPr>
          <a:xfrm flipV="1">
            <a:off x="12036935" y="1628467"/>
            <a:ext cx="0" cy="2111198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>
            <a:extLst>
              <a:ext uri="{FF2B5EF4-FFF2-40B4-BE49-F238E27FC236}">
                <a16:creationId xmlns:a16="http://schemas.microsoft.com/office/drawing/2014/main" id="{E942FEF1-020C-F494-0BA2-640DEF7E8EBB}"/>
              </a:ext>
            </a:extLst>
          </p:cNvPr>
          <p:cNvSpPr txBox="1"/>
          <p:nvPr/>
        </p:nvSpPr>
        <p:spPr>
          <a:xfrm>
            <a:off x="11723039" y="2487269"/>
            <a:ext cx="190689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bg2"/>
                </a:solidFill>
                <a:latin typeface="Papyrus" panose="03070502060502030205" pitchFamily="66" charset="0"/>
              </a:rPr>
              <a:t>AVATAR</a:t>
            </a:r>
            <a:r>
              <a:rPr lang="en-GB" sz="1800" b="1" dirty="0">
                <a:solidFill>
                  <a:schemeClr val="bg2"/>
                </a:solidFill>
                <a:latin typeface="Papyrus" panose="03070502060502030205" pitchFamily="66" charset="0"/>
              </a:rPr>
              <a:t> 3</a:t>
            </a:r>
          </a:p>
        </p:txBody>
      </p: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C344FD9A-2118-87F2-6BE8-A68FC67AC28C}"/>
              </a:ext>
            </a:extLst>
          </p:cNvPr>
          <p:cNvCxnSpPr>
            <a:cxnSpLocks/>
          </p:cNvCxnSpPr>
          <p:nvPr/>
        </p:nvCxnSpPr>
        <p:spPr>
          <a:xfrm flipV="1">
            <a:off x="12831256" y="2833799"/>
            <a:ext cx="0" cy="843382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7" name="Picture 116">
            <a:extLst>
              <a:ext uri="{FF2B5EF4-FFF2-40B4-BE49-F238E27FC236}">
                <a16:creationId xmlns:a16="http://schemas.microsoft.com/office/drawing/2014/main" id="{910C3276-6D34-973C-C3F9-F2A6A1042429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11651072" y="5947433"/>
            <a:ext cx="1632070" cy="483993"/>
          </a:xfrm>
          <a:prstGeom prst="rect">
            <a:avLst/>
          </a:prstGeom>
        </p:spPr>
      </p:pic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861C4B33-6C2A-6910-C2A9-DDE6E79BC2B8}"/>
              </a:ext>
            </a:extLst>
          </p:cNvPr>
          <p:cNvCxnSpPr>
            <a:cxnSpLocks/>
          </p:cNvCxnSpPr>
          <p:nvPr/>
        </p:nvCxnSpPr>
        <p:spPr>
          <a:xfrm flipV="1">
            <a:off x="12914390" y="3781055"/>
            <a:ext cx="0" cy="2111198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E47492F4-BF4D-2D10-6A0D-41F891FFF065}"/>
              </a:ext>
            </a:extLst>
          </p:cNvPr>
          <p:cNvCxnSpPr>
            <a:cxnSpLocks/>
          </p:cNvCxnSpPr>
          <p:nvPr/>
        </p:nvCxnSpPr>
        <p:spPr>
          <a:xfrm flipH="1" flipV="1">
            <a:off x="11834296" y="3681068"/>
            <a:ext cx="9708" cy="51913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A80F68B4-3DFB-B43F-1F15-68DDAED0034D}"/>
              </a:ext>
            </a:extLst>
          </p:cNvPr>
          <p:cNvCxnSpPr>
            <a:cxnSpLocks/>
          </p:cNvCxnSpPr>
          <p:nvPr/>
        </p:nvCxnSpPr>
        <p:spPr>
          <a:xfrm flipV="1">
            <a:off x="5960497" y="4791416"/>
            <a:ext cx="0" cy="61972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5EB0879F-E937-D316-28C0-EBC9340B03CC}"/>
              </a:ext>
            </a:extLst>
          </p:cNvPr>
          <p:cNvCxnSpPr>
            <a:cxnSpLocks/>
          </p:cNvCxnSpPr>
          <p:nvPr/>
        </p:nvCxnSpPr>
        <p:spPr>
          <a:xfrm flipV="1">
            <a:off x="5956494" y="5641758"/>
            <a:ext cx="0" cy="368911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F480BE05-4C51-9F22-3ACD-7C7FF16F2340}"/>
              </a:ext>
            </a:extLst>
          </p:cNvPr>
          <p:cNvPicPr>
            <a:picLocks noChangeAspect="1"/>
          </p:cNvPicPr>
          <p:nvPr/>
        </p:nvPicPr>
        <p:blipFill rotWithShape="1">
          <a:blip r:embed="rId41"/>
          <a:srcRect l="25629" t="72669" r="24106" b="12164"/>
          <a:stretch/>
        </p:blipFill>
        <p:spPr>
          <a:xfrm>
            <a:off x="7794512" y="4821284"/>
            <a:ext cx="1251665" cy="47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628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8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E517AFC7-1F88-4F1D-80C6-0CBC4A2E8871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F8127FAEC31A48AE6F1C492DD759CF" ma:contentTypeVersion="2" ma:contentTypeDescription="Create a new document." ma:contentTypeScope="" ma:versionID="e2a11eef44a86051666b89c82a9dfd3f">
  <xsd:schema xmlns:xsd="http://www.w3.org/2001/XMLSchema" xmlns:xs="http://www.w3.org/2001/XMLSchema" xmlns:p="http://schemas.microsoft.com/office/2006/metadata/properties" xmlns:ns2="a780b68c-c101-4594-8485-2bb2f67a1cfe" targetNamespace="http://schemas.microsoft.com/office/2006/metadata/properties" ma:root="true" ma:fieldsID="601f7a0fc27f77a4e72f14f56b4e943a" ns2:_="">
    <xsd:import namespace="a780b68c-c101-4594-8485-2bb2f67a1c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80b68c-c101-4594-8485-2bb2f67a1c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7F80AC7-7E68-4C0E-AE6C-54663BD55B2B}">
  <ds:schemaRefs>
    <ds:schemaRef ds:uri="a780b68c-c101-4594-8485-2bb2f67a1cf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5401ED0-B691-4DE7-A49E-13EC205B57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80b68c-c101-4594-8485-2bb2f67a1cf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B76D51E-4894-4876-8F3A-84420C2F4A7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8</Words>
  <Application>Microsoft Office PowerPoint</Application>
  <PresentationFormat>Custom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Arial Black</vt:lpstr>
      <vt:lpstr>Arial Narrow</vt:lpstr>
      <vt:lpstr>Bell MT</vt:lpstr>
      <vt:lpstr>Century Gothic</vt:lpstr>
      <vt:lpstr>Impact</vt:lpstr>
      <vt:lpstr>Papyrus</vt:lpstr>
      <vt:lpstr>Wingdings</vt:lpstr>
      <vt:lpstr>18_Image Slides</vt:lpstr>
      <vt:lpstr>think-cell Slide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nema’s return in 15 MINUTES</dc:title>
  <dc:creator/>
  <cp:lastModifiedBy/>
  <cp:revision>2</cp:revision>
  <dcterms:created xsi:type="dcterms:W3CDTF">2019-12-03T11:49:31Z</dcterms:created>
  <dcterms:modified xsi:type="dcterms:W3CDTF">2023-05-16T15:28:17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ContentTypeId">
    <vt:lpwstr>0x0101000CF8127FAEC31A48AE6F1C492DD759CF</vt:lpwstr>
  </property>
</Properties>
</file>